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63" r:id="rId4"/>
    <p:sldId id="264" r:id="rId5"/>
    <p:sldId id="265" r:id="rId6"/>
    <p:sldId id="268" r:id="rId7"/>
    <p:sldId id="266" r:id="rId8"/>
    <p:sldId id="267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08FD62-1ACB-4736-8812-CBFB27EA2B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7FC82-899C-4F50-BADA-4B247A832B90}" type="datetimeFigureOut">
              <a:rPr lang="en-US" smtClean="0"/>
              <a:t>6/7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532373-D1EF-4838-9EC4-5D3342DFB1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B8038B-AC24-48E5-9956-89E3D6B916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481FD-1A43-4723-9833-779C594CDB89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9CF3AF3-B121-4E3A-B65C-C5FB0AC016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8850" y="6356350"/>
            <a:ext cx="1543869" cy="365125"/>
          </a:xfrm>
          <a:prstGeom prst="rect">
            <a:avLst/>
          </a:prstGeom>
        </p:spPr>
      </p:pic>
      <p:sp>
        <p:nvSpPr>
          <p:cNvPr id="9" name="Rectangle 7">
            <a:extLst>
              <a:ext uri="{FF2B5EF4-FFF2-40B4-BE49-F238E27FC236}">
                <a16:creationId xmlns:a16="http://schemas.microsoft.com/office/drawing/2014/main" id="{47D37B3E-94E1-4D0F-86D7-003D7ED6D8FA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 flipV="1">
            <a:off x="1020389" y="838994"/>
            <a:ext cx="9907588" cy="518001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lIns="33059" tIns="42976" rIns="33059" bIns="42976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081724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EF3A1B-2965-493A-9E7E-AF5FEBDDC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8FAD802-BA32-46DA-B1F2-3A03132BBD1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339933-339C-4812-9EA7-071DD191C3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7FC82-899C-4F50-BADA-4B247A832B90}" type="datetimeFigureOut">
              <a:rPr lang="en-US" smtClean="0"/>
              <a:t>6/7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4D1465-205A-4ED0-9FEF-F949C2697F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34DF70-468C-43BB-A947-1A9F58EF91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481FD-1A43-4723-9833-779C594CDB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7096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BFB670C-9A56-4B05-BE32-BAEBEA0612A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8FE2B9-28AC-4ACC-8102-21ED870894F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295D67-D9E8-4325-A8BB-F068CB954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7FC82-899C-4F50-BADA-4B247A832B90}" type="datetimeFigureOut">
              <a:rPr lang="en-US" smtClean="0"/>
              <a:t>6/7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457582-168C-4BB7-8C29-A21BBD72E8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CA8BDC-416C-4A4A-91F3-685B28F600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481FD-1A43-4723-9833-779C594CDB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2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9F334-06C4-4008-9083-B701FDF4C0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AACBDF-7429-4595-8755-931B8EEB73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29518F-6869-495C-84E6-93F1542B12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7FC82-899C-4F50-BADA-4B247A832B90}" type="datetimeFigureOut">
              <a:rPr lang="en-US" smtClean="0"/>
              <a:t>6/7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16A046-9848-436A-943F-A90BB9FA1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59AF17-EA24-45A1-9B52-98A891B95D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481FD-1A43-4723-9833-779C594CDB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5760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4750F-40D5-4846-8967-5B194E21DB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E573F7-8B01-4C17-9CB1-10AACBC47D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0AC0F2-2084-432A-8B5B-6C3B3BDE91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7FC82-899C-4F50-BADA-4B247A832B90}" type="datetimeFigureOut">
              <a:rPr lang="en-US" smtClean="0"/>
              <a:t>6/7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0769CA-A8EE-4C7C-B719-7D89B2549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62E06F-628A-4473-956B-A322ACC50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481FD-1A43-4723-9833-779C594CDB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3310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A4AA46-13D2-4577-A565-CBADBF0F31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37C375-F0D1-46B8-9942-B3DE63B3A47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10768A3-E910-4F41-B195-5286F386BE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58A5A5-8546-4BA7-AB97-3D0D8CC772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7FC82-899C-4F50-BADA-4B247A832B90}" type="datetimeFigureOut">
              <a:rPr lang="en-US" smtClean="0"/>
              <a:t>6/7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70276E-6B8D-469C-B54F-5C1FDCFEA3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9DB20F-5EC3-495D-917D-6FA1FC77B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481FD-1A43-4723-9833-779C594CDB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39895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3FA974-75D5-4E26-9919-9DCBC8E4D7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258E38-8F1A-4FAB-94F6-9D799333C0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A5D4AF4-81A0-47CB-9810-0D7AB0B89F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ED67A7-3E21-46B7-8AE9-8BC1D1418C2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989AC87-2588-4B31-8EA2-199E59BD015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2A8D877-CC9A-4E4C-BFD8-ACDFF33986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7FC82-899C-4F50-BADA-4B247A832B90}" type="datetimeFigureOut">
              <a:rPr lang="en-US" smtClean="0"/>
              <a:t>6/7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AAFB587-EBAB-4AF8-AD49-41DCF1878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87872BD-4EBC-4524-BFBF-AA419B1C4E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481FD-1A43-4723-9833-779C594CDB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3271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DBC7D0-4A44-4F4A-8744-20AE49F1B1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5B6413-2B33-4C3D-B275-E304E3EE2E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7FC82-899C-4F50-BADA-4B247A832B90}" type="datetimeFigureOut">
              <a:rPr lang="en-US" smtClean="0"/>
              <a:t>6/7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A12B0D-F81E-499B-A42B-2D1304E898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FE5383-0BF3-4DE7-845E-A8F161A080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481FD-1A43-4723-9833-779C594CDB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2564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F3C6C07-96A0-4354-83D1-B20A61400D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7FC82-899C-4F50-BADA-4B247A832B90}" type="datetimeFigureOut">
              <a:rPr lang="en-US" smtClean="0"/>
              <a:t>6/7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DE258C-7BD6-4AE5-9903-2D6C28402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CB7DFE-9A19-4490-8DE1-69EB00E756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481FD-1A43-4723-9833-779C594CDB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0969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7EA623-5EF5-4C9B-9186-6AFB5647C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3EA623-7F2A-4602-8B1E-AE632874ED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8F2F3F-2502-47CA-A2A3-C1D2379B0E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37D0DC-AA77-41E5-830A-B042CBB00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7FC82-899C-4F50-BADA-4B247A832B90}" type="datetimeFigureOut">
              <a:rPr lang="en-US" smtClean="0"/>
              <a:t>6/7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202267-3E8B-4785-B33A-FC4A5CF81E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F741FC1-0A22-47FF-AF2C-78E28489E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481FD-1A43-4723-9833-779C594CDB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52979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3D2AD6-B1F8-433E-8341-5643B75B75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CC25CF2-EE71-4F85-8949-74BC7324D09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06E118F-23FA-44E8-8A80-F630F22D40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475677-F36D-440B-A49F-50DC1B51EE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07FC82-899C-4F50-BADA-4B247A832B90}" type="datetimeFigureOut">
              <a:rPr lang="en-US" smtClean="0"/>
              <a:t>6/7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9195AA-D5E0-4F68-8138-24DCBA25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CD0EF2-1A09-48D1-BFEB-AD3B87A7B9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481FD-1A43-4723-9833-779C594CDB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28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EE62DE-375C-423F-9B3F-686D27F614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9C2CA6-FA9C-4497-A952-45C8F01C55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E6CD9E-D49E-4282-A9C9-2E4E826C56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07FC82-899C-4F50-BADA-4B247A832B90}" type="datetimeFigureOut">
              <a:rPr lang="en-US" smtClean="0"/>
              <a:t>6/7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02D73-6163-4BFB-94A0-EA4BCC9E5C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5E120F-3E2D-4F77-87BA-A113167923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8481FD-1A43-4723-9833-779C594CDB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8486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6">
            <a:extLst>
              <a:ext uri="{FF2B5EF4-FFF2-40B4-BE49-F238E27FC236}">
                <a16:creationId xmlns:a16="http://schemas.microsoft.com/office/drawing/2014/main" id="{AC022813-5428-4F2A-8FF2-C5DEB7DD4A1A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1524000" y="3162748"/>
            <a:ext cx="9144000" cy="2095052"/>
          </a:xfrm>
        </p:spPr>
        <p:txBody>
          <a:bodyPr/>
          <a:lstStyle/>
          <a:p>
            <a:r>
              <a:rPr lang="en-US" dirty="0"/>
              <a:t>Team: Digital Dynamites</a:t>
            </a:r>
          </a:p>
          <a:p>
            <a:r>
              <a:rPr lang="en-US" dirty="0"/>
              <a:t>Hackathon 2018</a:t>
            </a:r>
          </a:p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5B8C08E-ADE1-4910-8A61-7FD652039AC8}"/>
              </a:ext>
            </a:extLst>
          </p:cNvPr>
          <p:cNvSpPr txBox="1"/>
          <p:nvPr/>
        </p:nvSpPr>
        <p:spPr>
          <a:xfrm>
            <a:off x="925158" y="484094"/>
            <a:ext cx="61748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/>
              <a:t>Intelligent Voice Assistant</a:t>
            </a:r>
          </a:p>
        </p:txBody>
      </p:sp>
    </p:spTree>
    <p:extLst>
      <p:ext uri="{BB962C8B-B14F-4D97-AF65-F5344CB8AC3E}">
        <p14:creationId xmlns:p14="http://schemas.microsoft.com/office/powerpoint/2010/main" val="8480793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4C4F8E6-09F9-43F3-8511-6A1D2FC686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61365" y="365125"/>
            <a:ext cx="11515165" cy="1325563"/>
          </a:xfrm>
        </p:spPr>
        <p:txBody>
          <a:bodyPr/>
          <a:lstStyle/>
          <a:p>
            <a:pPr algn="ctr"/>
            <a:r>
              <a:rPr lang="en-US" b="1" dirty="0"/>
              <a:t>Agenda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983C72A-469A-4CDB-AA6B-BD64037122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oblem Statement</a:t>
            </a:r>
          </a:p>
          <a:p>
            <a:r>
              <a:rPr lang="en-US" dirty="0"/>
              <a:t>Solution Approach</a:t>
            </a:r>
          </a:p>
          <a:p>
            <a:r>
              <a:rPr lang="en-US" dirty="0"/>
              <a:t>Advantages</a:t>
            </a:r>
          </a:p>
          <a:p>
            <a:r>
              <a:rPr lang="en-US" dirty="0"/>
              <a:t>Technology Stack</a:t>
            </a:r>
          </a:p>
          <a:p>
            <a:r>
              <a:rPr lang="en-US" dirty="0"/>
              <a:t>Device Demo</a:t>
            </a:r>
          </a:p>
          <a:p>
            <a:r>
              <a:rPr lang="en-US" dirty="0"/>
              <a:t>Querie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7" name="Freeform 4">
            <a:extLst>
              <a:ext uri="{FF2B5EF4-FFF2-40B4-BE49-F238E27FC236}">
                <a16:creationId xmlns:a16="http://schemas.microsoft.com/office/drawing/2014/main" id="{FDDEDEE9-E694-4A92-8CB1-E98741D1E246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962025"/>
            <a:ext cx="12191999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latin typeface="+mn-lt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02DBC25-5808-447A-8F17-309798C2EC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7495" y="6311900"/>
            <a:ext cx="1694329" cy="400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0815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4C4F8E6-09F9-43F3-8511-6A1D2FC686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pPr algn="ctr"/>
            <a:r>
              <a:rPr lang="en-US" b="1" dirty="0"/>
              <a:t>Problem Statemen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983C72A-469A-4CDB-AA6B-BD64037122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Retailer Centric:</a:t>
            </a:r>
          </a:p>
          <a:p>
            <a:pPr lvl="1"/>
            <a:r>
              <a:rPr lang="en-US" dirty="0"/>
              <a:t>Maintaining of items based on demand</a:t>
            </a:r>
          </a:p>
          <a:p>
            <a:pPr lvl="1"/>
            <a:r>
              <a:rPr lang="en-US" dirty="0"/>
              <a:t>Provide info about items to each and every sales boy</a:t>
            </a:r>
          </a:p>
          <a:p>
            <a:pPr lvl="1"/>
            <a:r>
              <a:rPr lang="en-US" dirty="0"/>
              <a:t>Feedback or Satisfaction of customer  </a:t>
            </a:r>
          </a:p>
          <a:p>
            <a:pPr lvl="1"/>
            <a:r>
              <a:rPr lang="en-US" dirty="0"/>
              <a:t>Cost to man </a:t>
            </a:r>
            <a:r>
              <a:rPr lang="en-US"/>
              <a:t>power maintenance</a:t>
            </a:r>
            <a:endParaRPr lang="en-US" dirty="0"/>
          </a:p>
          <a:p>
            <a:pPr marL="0" indent="0">
              <a:buNone/>
            </a:pPr>
            <a:r>
              <a:rPr lang="en-US" b="1" dirty="0"/>
              <a:t>Customer Centric:</a:t>
            </a:r>
          </a:p>
          <a:p>
            <a:pPr lvl="1"/>
            <a:r>
              <a:rPr lang="en-US" dirty="0"/>
              <a:t>Remembering or locating items in the store</a:t>
            </a:r>
          </a:p>
          <a:p>
            <a:pPr lvl="1"/>
            <a:r>
              <a:rPr lang="en-US" dirty="0"/>
              <a:t>Finding latest offers on items</a:t>
            </a:r>
          </a:p>
          <a:p>
            <a:pPr lvl="1"/>
            <a:r>
              <a:rPr lang="en-US" dirty="0"/>
              <a:t>Previous Purchase history </a:t>
            </a:r>
          </a:p>
          <a:p>
            <a:endParaRPr lang="en-US" dirty="0"/>
          </a:p>
        </p:txBody>
      </p:sp>
      <p:sp>
        <p:nvSpPr>
          <p:cNvPr id="7" name="Freeform 4">
            <a:extLst>
              <a:ext uri="{FF2B5EF4-FFF2-40B4-BE49-F238E27FC236}">
                <a16:creationId xmlns:a16="http://schemas.microsoft.com/office/drawing/2014/main" id="{FDDEDEE9-E694-4A92-8CB1-E98741D1E246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962025"/>
            <a:ext cx="12191999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latin typeface="+mn-lt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02DBC25-5808-447A-8F17-309798C2EC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7495" y="6311900"/>
            <a:ext cx="1694329" cy="400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8796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4">
            <a:extLst>
              <a:ext uri="{FF2B5EF4-FFF2-40B4-BE49-F238E27FC236}">
                <a16:creationId xmlns:a16="http://schemas.microsoft.com/office/drawing/2014/main" id="{FDDEDEE9-E694-4A92-8CB1-E98741D1E246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962025"/>
            <a:ext cx="12191999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latin typeface="+mn-lt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02DBC25-5808-447A-8F17-309798C2EC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7495" y="6311900"/>
            <a:ext cx="1694329" cy="400709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FD912E18-459B-4DEB-AB5A-31AF0ED642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pPr algn="ctr"/>
            <a:r>
              <a:rPr lang="en-US" b="1" dirty="0"/>
              <a:t>Solution Approach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FD23DF0-B098-4F9C-BB02-BD75EBC97A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r>
              <a:rPr lang="en-US" dirty="0"/>
              <a:t>Installing Amazon echo dot devices</a:t>
            </a:r>
          </a:p>
          <a:p>
            <a:r>
              <a:rPr lang="en-US" dirty="0"/>
              <a:t>Enable my mart skill on each device </a:t>
            </a:r>
          </a:p>
          <a:p>
            <a:r>
              <a:rPr lang="en-US" dirty="0"/>
              <a:t>Integrate with data base</a:t>
            </a:r>
          </a:p>
          <a:p>
            <a:r>
              <a:rPr lang="en-US" dirty="0"/>
              <a:t>Example for invocation </a:t>
            </a:r>
          </a:p>
          <a:p>
            <a:pPr lvl="2"/>
            <a:r>
              <a:rPr lang="en-US" dirty="0"/>
              <a:t>Alexa` open my mart </a:t>
            </a:r>
          </a:p>
          <a:p>
            <a:pPr lvl="2"/>
            <a:r>
              <a:rPr lang="en-US" dirty="0"/>
              <a:t>Alexa` ask my mart where can I get goods ?</a:t>
            </a:r>
          </a:p>
          <a:p>
            <a:pPr lvl="2"/>
            <a:r>
              <a:rPr lang="en-US" dirty="0"/>
              <a:t>Alexa` ask my mart purchase history ?</a:t>
            </a:r>
          </a:p>
          <a:p>
            <a:pPr lvl="2"/>
            <a:r>
              <a:rPr lang="en-US" dirty="0"/>
              <a:t>Alexa` ask my mart for offers on items ?</a:t>
            </a:r>
          </a:p>
          <a:p>
            <a:pPr lvl="2"/>
            <a:r>
              <a:rPr lang="en-US" dirty="0"/>
              <a:t>Alexa` ask my mart any recommendations ?</a:t>
            </a:r>
          </a:p>
          <a:p>
            <a:pPr lvl="2"/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47529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4">
            <a:extLst>
              <a:ext uri="{FF2B5EF4-FFF2-40B4-BE49-F238E27FC236}">
                <a16:creationId xmlns:a16="http://schemas.microsoft.com/office/drawing/2014/main" id="{FDDEDEE9-E694-4A92-8CB1-E98741D1E246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962025"/>
            <a:ext cx="12191999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latin typeface="+mn-lt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02DBC25-5808-447A-8F17-309798C2EC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7495" y="6311900"/>
            <a:ext cx="1694329" cy="40070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5215120F-A6E4-4BBE-BB6F-CA835D431E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pPr algn="ctr"/>
            <a:r>
              <a:rPr lang="en-US" b="1" dirty="0"/>
              <a:t>Advantages &amp; Over coming the Problem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7C74353-8EB1-4B7B-8D2B-55DCF0FFB3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/>
              <a:t>Customer Centric:</a:t>
            </a:r>
          </a:p>
          <a:p>
            <a:pPr lvl="1"/>
            <a:r>
              <a:rPr lang="en-US" dirty="0"/>
              <a:t>Guide to find the location of any item and offers on them</a:t>
            </a:r>
          </a:p>
          <a:p>
            <a:pPr lvl="1"/>
            <a:r>
              <a:rPr lang="en-US" dirty="0"/>
              <a:t>Get previous purchase history details</a:t>
            </a:r>
          </a:p>
          <a:p>
            <a:pPr lvl="1"/>
            <a:r>
              <a:rPr lang="en-US" dirty="0"/>
              <a:t>Trending items &amp; Product details</a:t>
            </a:r>
          </a:p>
          <a:p>
            <a:pPr marL="0" indent="0">
              <a:buNone/>
            </a:pPr>
            <a:r>
              <a:rPr lang="en-US" b="1" dirty="0"/>
              <a:t>Retailer Centric:</a:t>
            </a:r>
          </a:p>
          <a:p>
            <a:pPr lvl="1"/>
            <a:r>
              <a:rPr lang="en-US" dirty="0"/>
              <a:t>Get demand based on purchase</a:t>
            </a:r>
          </a:p>
          <a:p>
            <a:pPr lvl="1"/>
            <a:r>
              <a:rPr lang="en-US" dirty="0"/>
              <a:t>Take feedback from customer </a:t>
            </a:r>
          </a:p>
          <a:p>
            <a:pPr lvl="1"/>
            <a:r>
              <a:rPr lang="en-US" dirty="0"/>
              <a:t>Reduce man power maintaining cost </a:t>
            </a:r>
          </a:p>
          <a:p>
            <a:pPr lvl="1"/>
            <a:r>
              <a:rPr lang="en-US" dirty="0"/>
              <a:t>Achieve the target goals 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3645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4">
            <a:extLst>
              <a:ext uri="{FF2B5EF4-FFF2-40B4-BE49-F238E27FC236}">
                <a16:creationId xmlns:a16="http://schemas.microsoft.com/office/drawing/2014/main" id="{FDDEDEE9-E694-4A92-8CB1-E98741D1E246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962025"/>
            <a:ext cx="12191999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latin typeface="+mn-lt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02DBC25-5808-447A-8F17-309798C2EC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7495" y="6311900"/>
            <a:ext cx="1694329" cy="40070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52570D8C-88F9-452A-A115-CCC33ECDD9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pPr algn="ctr"/>
            <a:r>
              <a:rPr lang="en-US" b="1" dirty="0"/>
              <a:t>Technology Stack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2ED87CA-A865-4923-80E0-2F4A63E6BE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0515600" cy="4351338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Software:</a:t>
            </a:r>
          </a:p>
          <a:p>
            <a:pPr lvl="1"/>
            <a:r>
              <a:rPr lang="en-US" dirty="0"/>
              <a:t>Alexa Developer Console</a:t>
            </a:r>
          </a:p>
          <a:p>
            <a:pPr lvl="1"/>
            <a:r>
              <a:rPr lang="en-US" dirty="0"/>
              <a:t>AWS Services (Lambda, Cloud logs, Alexa Skill kit)</a:t>
            </a:r>
          </a:p>
          <a:p>
            <a:pPr lvl="1"/>
            <a:r>
              <a:rPr lang="en-US" dirty="0"/>
              <a:t>STS(Spring Tool Suite)</a:t>
            </a:r>
          </a:p>
          <a:p>
            <a:pPr lvl="1"/>
            <a:r>
              <a:rPr lang="en-US" dirty="0"/>
              <a:t>Java 1.8 </a:t>
            </a:r>
          </a:p>
          <a:p>
            <a:pPr lvl="1"/>
            <a:r>
              <a:rPr lang="en-US" dirty="0"/>
              <a:t>Dialogue</a:t>
            </a:r>
          </a:p>
          <a:p>
            <a:pPr marL="0" indent="0">
              <a:buNone/>
            </a:pPr>
            <a:r>
              <a:rPr lang="en-US" b="1" dirty="0"/>
              <a:t>Hardware:</a:t>
            </a:r>
          </a:p>
          <a:p>
            <a:pPr lvl="1"/>
            <a:r>
              <a:rPr lang="en-US" dirty="0"/>
              <a:t>Echo Dot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8449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4">
            <a:extLst>
              <a:ext uri="{FF2B5EF4-FFF2-40B4-BE49-F238E27FC236}">
                <a16:creationId xmlns:a16="http://schemas.microsoft.com/office/drawing/2014/main" id="{FDDEDEE9-E694-4A92-8CB1-E98741D1E246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962025"/>
            <a:ext cx="12191999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latin typeface="+mn-lt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02DBC25-5808-447A-8F17-309798C2EC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7495" y="6311900"/>
            <a:ext cx="1694329" cy="40070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F31668D-A6A0-478B-AE33-332A6BA27690}"/>
              </a:ext>
            </a:extLst>
          </p:cNvPr>
          <p:cNvSpPr/>
          <p:nvPr/>
        </p:nvSpPr>
        <p:spPr>
          <a:xfrm>
            <a:off x="3410175" y="3244334"/>
            <a:ext cx="670865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0" b="1" dirty="0"/>
              <a:t>Queries?</a:t>
            </a:r>
          </a:p>
        </p:txBody>
      </p:sp>
    </p:spTree>
    <p:extLst>
      <p:ext uri="{BB962C8B-B14F-4D97-AF65-F5344CB8AC3E}">
        <p14:creationId xmlns:p14="http://schemas.microsoft.com/office/powerpoint/2010/main" val="11378325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4">
            <a:extLst>
              <a:ext uri="{FF2B5EF4-FFF2-40B4-BE49-F238E27FC236}">
                <a16:creationId xmlns:a16="http://schemas.microsoft.com/office/drawing/2014/main" id="{FDDEDEE9-E694-4A92-8CB1-E98741D1E246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962025"/>
            <a:ext cx="12191999" cy="72866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latin typeface="+mn-lt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02DBC25-5808-447A-8F17-309798C2EC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7495" y="6311900"/>
            <a:ext cx="1694329" cy="40070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4A06568-4F3E-41DB-92DE-660985A92769}"/>
              </a:ext>
            </a:extLst>
          </p:cNvPr>
          <p:cNvSpPr/>
          <p:nvPr/>
        </p:nvSpPr>
        <p:spPr>
          <a:xfrm>
            <a:off x="3410175" y="3244334"/>
            <a:ext cx="670865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0" b="1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9921791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rganic</Template>
  <TotalTime>82</TotalTime>
  <Words>220</Words>
  <Application>Microsoft Office PowerPoint</Application>
  <PresentationFormat>Widescreen</PresentationFormat>
  <Paragraphs>53</Paragraphs>
  <Slides>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Arial</vt:lpstr>
      <vt:lpstr>Calibri</vt:lpstr>
      <vt:lpstr>Calibri Light</vt:lpstr>
      <vt:lpstr>Office Theme</vt:lpstr>
      <vt:lpstr>PowerPoint Presentation</vt:lpstr>
      <vt:lpstr>Agenda</vt:lpstr>
      <vt:lpstr>Problem Statement</vt:lpstr>
      <vt:lpstr>Solution Approach</vt:lpstr>
      <vt:lpstr>Advantages &amp; Over coming the Problem</vt:lpstr>
      <vt:lpstr>Technology Stack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pparaju, Krishna Prasad</dc:creator>
  <cp:lastModifiedBy>Mupparaju, Krishna Prasad</cp:lastModifiedBy>
  <cp:revision>41</cp:revision>
  <dcterms:created xsi:type="dcterms:W3CDTF">2018-06-07T06:34:27Z</dcterms:created>
  <dcterms:modified xsi:type="dcterms:W3CDTF">2018-06-07T08:06:39Z</dcterms:modified>
</cp:coreProperties>
</file>